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56" r:id="rId5"/>
    <p:sldId id="258" r:id="rId6"/>
  </p:sldIdLst>
  <p:sldSz cx="12192000" cy="6858000"/>
  <p:notesSz cx="6761163" cy="985678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ll Andrea Marie (AE/EMC)" initials="SAM(" lastIdx="4" clrIdx="0">
    <p:extLst>
      <p:ext uri="{19B8F6BF-5375-455C-9EA6-DF929625EA0E}">
        <p15:presenceInfo xmlns:p15="http://schemas.microsoft.com/office/powerpoint/2012/main" userId="S::sno2bue@bosch.com::942fed88-17a4-4a27-ba2b-8b42900e827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D1E4FF"/>
    <a:srgbClr val="0033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33ED78-D5CE-47AA-8123-C7D0CD010E46}" v="27" dt="2026-03-13T14:53:50.762"/>
    <p1510:client id="{0E4F6727-83C3-4B77-9722-A480B25AB61C}" v="3" dt="2026-03-13T14:57:20.0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737" autoAdjust="0"/>
  </p:normalViewPr>
  <p:slideViewPr>
    <p:cSldViewPr>
      <p:cViewPr varScale="1">
        <p:scale>
          <a:sx n="90" d="100"/>
          <a:sy n="90" d="100"/>
        </p:scale>
        <p:origin x="355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erstorfer Andreas, EL-443" userId="94b21450-a1fc-4334-bcab-8a1ae62433bb" providerId="ADAL" clId="{5FFFB196-52B1-4EA5-8498-D382B6448403}"/>
    <pc:docChg chg="undo custSel addSld delSld modSld sldOrd">
      <pc:chgData name="Gierstorfer Andreas, EL-443" userId="94b21450-a1fc-4334-bcab-8a1ae62433bb" providerId="ADAL" clId="{5FFFB196-52B1-4EA5-8498-D382B6448403}" dt="2026-03-13T14:57:43.636" v="965" actId="47"/>
      <pc:docMkLst>
        <pc:docMk/>
      </pc:docMkLst>
      <pc:sldChg chg="modSp mod">
        <pc:chgData name="Gierstorfer Andreas, EL-443" userId="94b21450-a1fc-4334-bcab-8a1ae62433bb" providerId="ADAL" clId="{5FFFB196-52B1-4EA5-8498-D382B6448403}" dt="2026-03-13T14:56:18.881" v="931" actId="20577"/>
        <pc:sldMkLst>
          <pc:docMk/>
          <pc:sldMk cId="0" sldId="256"/>
        </pc:sldMkLst>
        <pc:spChg chg="mod">
          <ac:chgData name="Gierstorfer Andreas, EL-443" userId="94b21450-a1fc-4334-bcab-8a1ae62433bb" providerId="ADAL" clId="{5FFFB196-52B1-4EA5-8498-D382B6448403}" dt="2026-03-13T14:56:18.881" v="931" actId="20577"/>
          <ac:spMkLst>
            <pc:docMk/>
            <pc:sldMk cId="0" sldId="256"/>
            <ac:spMk id="6" creationId="{B148632B-F642-3460-7FF1-C15D14846F95}"/>
          </ac:spMkLst>
        </pc:spChg>
      </pc:sldChg>
      <pc:sldChg chg="addSp delSp modSp del mod">
        <pc:chgData name="Gierstorfer Andreas, EL-443" userId="94b21450-a1fc-4334-bcab-8a1ae62433bb" providerId="ADAL" clId="{5FFFB196-52B1-4EA5-8498-D382B6448403}" dt="2026-03-13T14:57:43.636" v="965" actId="47"/>
        <pc:sldMkLst>
          <pc:docMk/>
          <pc:sldMk cId="3559399008" sldId="257"/>
        </pc:sldMkLst>
        <pc:spChg chg="del mod">
          <ac:chgData name="Gierstorfer Andreas, EL-443" userId="94b21450-a1fc-4334-bcab-8a1ae62433bb" providerId="ADAL" clId="{5FFFB196-52B1-4EA5-8498-D382B6448403}" dt="2026-03-13T14:48:08.477" v="830" actId="478"/>
          <ac:spMkLst>
            <pc:docMk/>
            <pc:sldMk cId="3559399008" sldId="257"/>
            <ac:spMk id="5" creationId="{7E2569C2-185E-D8E6-EFDF-21A71FC70982}"/>
          </ac:spMkLst>
        </pc:spChg>
        <pc:spChg chg="del mod">
          <ac:chgData name="Gierstorfer Andreas, EL-443" userId="94b21450-a1fc-4334-bcab-8a1ae62433bb" providerId="ADAL" clId="{5FFFB196-52B1-4EA5-8498-D382B6448403}" dt="2026-03-13T14:48:51.077" v="852"/>
          <ac:spMkLst>
            <pc:docMk/>
            <pc:sldMk cId="3559399008" sldId="257"/>
            <ac:spMk id="9" creationId="{FBFB2377-4190-6E9D-A22C-97D935791A1D}"/>
          </ac:spMkLst>
        </pc:spChg>
        <pc:spChg chg="add mod">
          <ac:chgData name="Gierstorfer Andreas, EL-443" userId="94b21450-a1fc-4334-bcab-8a1ae62433bb" providerId="ADAL" clId="{5FFFB196-52B1-4EA5-8498-D382B6448403}" dt="2026-03-13T14:48:50.411" v="850" actId="1076"/>
          <ac:spMkLst>
            <pc:docMk/>
            <pc:sldMk cId="3559399008" sldId="257"/>
            <ac:spMk id="11" creationId="{24D832CE-2867-606A-3191-BF2B660CAF82}"/>
          </ac:spMkLst>
        </pc:spChg>
      </pc:sldChg>
      <pc:sldChg chg="addSp delSp modSp mod">
        <pc:chgData name="Gierstorfer Andreas, EL-443" userId="94b21450-a1fc-4334-bcab-8a1ae62433bb" providerId="ADAL" clId="{5FFFB196-52B1-4EA5-8498-D382B6448403}" dt="2026-03-13T14:57:41.423" v="964"/>
        <pc:sldMkLst>
          <pc:docMk/>
          <pc:sldMk cId="1428005647" sldId="258"/>
        </pc:sldMkLst>
        <pc:spChg chg="mod">
          <ac:chgData name="Gierstorfer Andreas, EL-443" userId="94b21450-a1fc-4334-bcab-8a1ae62433bb" providerId="ADAL" clId="{5FFFB196-52B1-4EA5-8498-D382B6448403}" dt="2026-03-13T14:56:47.989" v="947" actId="20577"/>
          <ac:spMkLst>
            <pc:docMk/>
            <pc:sldMk cId="1428005647" sldId="258"/>
            <ac:spMk id="2" creationId="{B9B5DDB1-3467-85F1-E169-17236F6F030F}"/>
          </ac:spMkLst>
        </pc:spChg>
        <pc:spChg chg="add mod">
          <ac:chgData name="Gierstorfer Andreas, EL-443" userId="94b21450-a1fc-4334-bcab-8a1ae62433bb" providerId="ADAL" clId="{5FFFB196-52B1-4EA5-8498-D382B6448403}" dt="2026-03-13T14:57:40.526" v="962" actId="1076"/>
          <ac:spMkLst>
            <pc:docMk/>
            <pc:sldMk cId="1428005647" sldId="258"/>
            <ac:spMk id="3" creationId="{E0568112-5A71-163B-F28E-B3281E3340EB}"/>
          </ac:spMkLst>
        </pc:spChg>
        <pc:spChg chg="del mod">
          <ac:chgData name="Gierstorfer Andreas, EL-443" userId="94b21450-a1fc-4334-bcab-8a1ae62433bb" providerId="ADAL" clId="{5FFFB196-52B1-4EA5-8498-D382B6448403}" dt="2026-03-13T14:56:41.339" v="932" actId="478"/>
          <ac:spMkLst>
            <pc:docMk/>
            <pc:sldMk cId="1428005647" sldId="258"/>
            <ac:spMk id="5" creationId="{F181B3BD-A8A7-9DF7-E821-99ABCD49EE19}"/>
          </ac:spMkLst>
        </pc:spChg>
        <pc:spChg chg="mod">
          <ac:chgData name="Gierstorfer Andreas, EL-443" userId="94b21450-a1fc-4334-bcab-8a1ae62433bb" providerId="ADAL" clId="{5FFFB196-52B1-4EA5-8498-D382B6448403}" dt="2026-03-13T14:17:39.700" v="180" actId="21"/>
          <ac:spMkLst>
            <pc:docMk/>
            <pc:sldMk cId="1428005647" sldId="258"/>
            <ac:spMk id="6" creationId="{984C288D-DFEC-3F66-3C10-182D4777ED8D}"/>
          </ac:spMkLst>
        </pc:spChg>
        <pc:spChg chg="add del mod">
          <ac:chgData name="Gierstorfer Andreas, EL-443" userId="94b21450-a1fc-4334-bcab-8a1ae62433bb" providerId="ADAL" clId="{5FFFB196-52B1-4EA5-8498-D382B6448403}" dt="2026-03-13T14:57:04.051" v="949" actId="478"/>
          <ac:spMkLst>
            <pc:docMk/>
            <pc:sldMk cId="1428005647" sldId="258"/>
            <ac:spMk id="7" creationId="{214078B8-C92D-4632-C4E0-0187E6144BEF}"/>
          </ac:spMkLst>
        </pc:spChg>
        <pc:spChg chg="add del mod">
          <ac:chgData name="Gierstorfer Andreas, EL-443" userId="94b21450-a1fc-4334-bcab-8a1ae62433bb" providerId="ADAL" clId="{5FFFB196-52B1-4EA5-8498-D382B6448403}" dt="2026-03-13T14:57:41.423" v="964"/>
          <ac:spMkLst>
            <pc:docMk/>
            <pc:sldMk cId="1428005647" sldId="258"/>
            <ac:spMk id="8" creationId="{809BC56C-06EC-960C-C2AF-DC732459DD9B}"/>
          </ac:spMkLst>
        </pc:spChg>
      </pc:sldChg>
      <pc:sldChg chg="addSp modSp del mod">
        <pc:chgData name="Gierstorfer Andreas, EL-443" userId="94b21450-a1fc-4334-bcab-8a1ae62433bb" providerId="ADAL" clId="{5FFFB196-52B1-4EA5-8498-D382B6448403}" dt="2026-03-13T14:57:43.636" v="965" actId="47"/>
        <pc:sldMkLst>
          <pc:docMk/>
          <pc:sldMk cId="3946007519" sldId="259"/>
        </pc:sldMkLst>
        <pc:spChg chg="mod">
          <ac:chgData name="Gierstorfer Andreas, EL-443" userId="94b21450-a1fc-4334-bcab-8a1ae62433bb" providerId="ADAL" clId="{5FFFB196-52B1-4EA5-8498-D382B6448403}" dt="2026-03-13T14:33:14.810" v="545" actId="20577"/>
          <ac:spMkLst>
            <pc:docMk/>
            <pc:sldMk cId="3946007519" sldId="259"/>
            <ac:spMk id="2" creationId="{FD787D8A-884F-49E9-6F77-D6D51FC834C5}"/>
          </ac:spMkLst>
        </pc:spChg>
        <pc:spChg chg="mod">
          <ac:chgData name="Gierstorfer Andreas, EL-443" userId="94b21450-a1fc-4334-bcab-8a1ae62433bb" providerId="ADAL" clId="{5FFFB196-52B1-4EA5-8498-D382B6448403}" dt="2026-03-13T14:45:11.416" v="685" actId="20577"/>
          <ac:spMkLst>
            <pc:docMk/>
            <pc:sldMk cId="3946007519" sldId="259"/>
            <ac:spMk id="5" creationId="{A1311C69-7147-858E-69F9-64E4F9A8B973}"/>
          </ac:spMkLst>
        </pc:spChg>
        <pc:spChg chg="mod">
          <ac:chgData name="Gierstorfer Andreas, EL-443" userId="94b21450-a1fc-4334-bcab-8a1ae62433bb" providerId="ADAL" clId="{5FFFB196-52B1-4EA5-8498-D382B6448403}" dt="2026-03-13T14:21:36.463" v="209" actId="21"/>
          <ac:spMkLst>
            <pc:docMk/>
            <pc:sldMk cId="3946007519" sldId="259"/>
            <ac:spMk id="6" creationId="{6699E34D-D90B-8AFF-B77D-FF0AEEDBDFAD}"/>
          </ac:spMkLst>
        </pc:spChg>
        <pc:graphicFrameChg chg="add mod">
          <ac:chgData name="Gierstorfer Andreas, EL-443" userId="94b21450-a1fc-4334-bcab-8a1ae62433bb" providerId="ADAL" clId="{5FFFB196-52B1-4EA5-8498-D382B6448403}" dt="2026-03-13T14:25:01.461" v="260"/>
          <ac:graphicFrameMkLst>
            <pc:docMk/>
            <pc:sldMk cId="3946007519" sldId="259"/>
            <ac:graphicFrameMk id="3" creationId="{E3BF3CC0-4378-EEC0-A23B-D49045FEBFCC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5:12.437" v="261"/>
          <ac:graphicFrameMkLst>
            <pc:docMk/>
            <pc:sldMk cId="3946007519" sldId="259"/>
            <ac:graphicFrameMk id="7" creationId="{8487EF18-21BF-324D-520C-01D11F6207BB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6:52.945" v="287"/>
          <ac:graphicFrameMkLst>
            <pc:docMk/>
            <pc:sldMk cId="3946007519" sldId="259"/>
            <ac:graphicFrameMk id="8" creationId="{699BB6B3-BA7A-CAC0-B293-A47E2E7382F9}"/>
          </ac:graphicFrameMkLst>
        </pc:graphicFrameChg>
        <pc:graphicFrameChg chg="add mod">
          <ac:chgData name="Gierstorfer Andreas, EL-443" userId="94b21450-a1fc-4334-bcab-8a1ae62433bb" providerId="ADAL" clId="{5FFFB196-52B1-4EA5-8498-D382B6448403}" dt="2026-03-13T14:26:55.878" v="289"/>
          <ac:graphicFrameMkLst>
            <pc:docMk/>
            <pc:sldMk cId="3946007519" sldId="259"/>
            <ac:graphicFrameMk id="9" creationId="{B6AD8C3D-3E34-FE1B-4FB4-2B1A42219F33}"/>
          </ac:graphicFrameMkLst>
        </pc:graphicFrameChg>
      </pc:sldChg>
      <pc:sldChg chg="modSp del mod">
        <pc:chgData name="Gierstorfer Andreas, EL-443" userId="94b21450-a1fc-4334-bcab-8a1ae62433bb" providerId="ADAL" clId="{5FFFB196-52B1-4EA5-8498-D382B6448403}" dt="2026-03-13T14:44:01.009" v="630" actId="47"/>
        <pc:sldMkLst>
          <pc:docMk/>
          <pc:sldMk cId="748498660" sldId="260"/>
        </pc:sldMkLst>
        <pc:spChg chg="mod">
          <ac:chgData name="Gierstorfer Andreas, EL-443" userId="94b21450-a1fc-4334-bcab-8a1ae62433bb" providerId="ADAL" clId="{5FFFB196-52B1-4EA5-8498-D382B6448403}" dt="2026-03-13T14:42:51.392" v="607" actId="20577"/>
          <ac:spMkLst>
            <pc:docMk/>
            <pc:sldMk cId="748498660" sldId="260"/>
            <ac:spMk id="5" creationId="{6AFA53D8-F882-D30D-D405-DF8EDBA55904}"/>
          </ac:spMkLst>
        </pc:spChg>
        <pc:spChg chg="mod">
          <ac:chgData name="Gierstorfer Andreas, EL-443" userId="94b21450-a1fc-4334-bcab-8a1ae62433bb" providerId="ADAL" clId="{5FFFB196-52B1-4EA5-8498-D382B6448403}" dt="2026-03-13T14:42:58.885" v="609" actId="21"/>
          <ac:spMkLst>
            <pc:docMk/>
            <pc:sldMk cId="748498660" sldId="260"/>
            <ac:spMk id="6" creationId="{B5160809-00B8-2A1B-0CB0-A9FE7F33C444}"/>
          </ac:spMkLst>
        </pc:spChg>
      </pc:sldChg>
      <pc:sldChg chg="modSp del mod ord">
        <pc:chgData name="Gierstorfer Andreas, EL-443" userId="94b21450-a1fc-4334-bcab-8a1ae62433bb" providerId="ADAL" clId="{5FFFB196-52B1-4EA5-8498-D382B6448403}" dt="2026-03-13T14:29:32.193" v="458" actId="47"/>
        <pc:sldMkLst>
          <pc:docMk/>
          <pc:sldMk cId="2287694205" sldId="261"/>
        </pc:sldMkLst>
        <pc:spChg chg="mod">
          <ac:chgData name="Gierstorfer Andreas, EL-443" userId="94b21450-a1fc-4334-bcab-8a1ae62433bb" providerId="ADAL" clId="{5FFFB196-52B1-4EA5-8498-D382B6448403}" dt="2026-03-13T14:21:46.412" v="212" actId="21"/>
          <ac:spMkLst>
            <pc:docMk/>
            <pc:sldMk cId="2287694205" sldId="261"/>
            <ac:spMk id="3" creationId="{6D46D3C5-7687-C7C9-BBB0-BDBCEF8F631E}"/>
          </ac:spMkLst>
        </pc:spChg>
      </pc:sldChg>
      <pc:sldChg chg="modSp del mod">
        <pc:chgData name="Gierstorfer Andreas, EL-443" userId="94b21450-a1fc-4334-bcab-8a1ae62433bb" providerId="ADAL" clId="{5FFFB196-52B1-4EA5-8498-D382B6448403}" dt="2026-03-13T14:44:41.534" v="676" actId="47"/>
        <pc:sldMkLst>
          <pc:docMk/>
          <pc:sldMk cId="1238185018" sldId="262"/>
        </pc:sldMkLst>
        <pc:spChg chg="mod">
          <ac:chgData name="Gierstorfer Andreas, EL-443" userId="94b21450-a1fc-4334-bcab-8a1ae62433bb" providerId="ADAL" clId="{5FFFB196-52B1-4EA5-8498-D382B6448403}" dt="2026-03-13T14:44:33.328" v="673" actId="27636"/>
          <ac:spMkLst>
            <pc:docMk/>
            <pc:sldMk cId="1238185018" sldId="262"/>
            <ac:spMk id="4" creationId="{ECBFAA31-AC2E-3679-96BC-D1FF3D33278D}"/>
          </ac:spMkLst>
        </pc:spChg>
      </pc:sldChg>
      <pc:sldChg chg="delSp modSp new del mod">
        <pc:chgData name="Gierstorfer Andreas, EL-443" userId="94b21450-a1fc-4334-bcab-8a1ae62433bb" providerId="ADAL" clId="{5FFFB196-52B1-4EA5-8498-D382B6448403}" dt="2026-03-13T14:57:43.636" v="965" actId="47"/>
        <pc:sldMkLst>
          <pc:docMk/>
          <pc:sldMk cId="2076774644" sldId="263"/>
        </pc:sldMkLst>
        <pc:spChg chg="del mod">
          <ac:chgData name="Gierstorfer Andreas, EL-443" userId="94b21450-a1fc-4334-bcab-8a1ae62433bb" providerId="ADAL" clId="{5FFFB196-52B1-4EA5-8498-D382B6448403}" dt="2026-03-12T06:10:01.389" v="33" actId="478"/>
          <ac:spMkLst>
            <pc:docMk/>
            <pc:sldMk cId="2076774644" sldId="263"/>
            <ac:spMk id="2" creationId="{3CF89AB1-29C5-DA4D-DD7A-D4DB2A29D5D1}"/>
          </ac:spMkLst>
        </pc:spChg>
        <pc:spChg chg="mod">
          <ac:chgData name="Gierstorfer Andreas, EL-443" userId="94b21450-a1fc-4334-bcab-8a1ae62433bb" providerId="ADAL" clId="{5FFFB196-52B1-4EA5-8498-D382B6448403}" dt="2026-03-12T06:12:23.016" v="137" actId="255"/>
          <ac:spMkLst>
            <pc:docMk/>
            <pc:sldMk cId="2076774644" sldId="263"/>
            <ac:spMk id="3" creationId="{EBA98C8E-9F64-6C70-DA82-9D71CF5A1A53}"/>
          </ac:spMkLst>
        </pc:spChg>
      </pc:sldChg>
      <pc:sldChg chg="new del">
        <pc:chgData name="Gierstorfer Andreas, EL-443" userId="94b21450-a1fc-4334-bcab-8a1ae62433bb" providerId="ADAL" clId="{5FFFB196-52B1-4EA5-8498-D382B6448403}" dt="2026-03-12T06:11:03.075" v="72" actId="47"/>
        <pc:sldMkLst>
          <pc:docMk/>
          <pc:sldMk cId="2419542325" sldId="264"/>
        </pc:sldMkLst>
      </pc:sldChg>
      <pc:sldChg chg="modSp add del mod ord">
        <pc:chgData name="Gierstorfer Andreas, EL-443" userId="94b21450-a1fc-4334-bcab-8a1ae62433bb" providerId="ADAL" clId="{5FFFB196-52B1-4EA5-8498-D382B6448403}" dt="2026-03-13T14:57:43.636" v="965" actId="47"/>
        <pc:sldMkLst>
          <pc:docMk/>
          <pc:sldMk cId="2834216036" sldId="264"/>
        </pc:sldMkLst>
        <pc:spChg chg="mod">
          <ac:chgData name="Gierstorfer Andreas, EL-443" userId="94b21450-a1fc-4334-bcab-8a1ae62433bb" providerId="ADAL" clId="{5FFFB196-52B1-4EA5-8498-D382B6448403}" dt="2026-03-12T06:13:20.129" v="160" actId="20577"/>
          <ac:spMkLst>
            <pc:docMk/>
            <pc:sldMk cId="2834216036" sldId="264"/>
            <ac:spMk id="3" creationId="{B964F4E8-0219-9408-7926-92440A01126C}"/>
          </ac:spMkLst>
        </pc:spChg>
      </pc:sldChg>
      <pc:sldChg chg="modSp add del mod ord">
        <pc:chgData name="Gierstorfer Andreas, EL-443" userId="94b21450-a1fc-4334-bcab-8a1ae62433bb" providerId="ADAL" clId="{5FFFB196-52B1-4EA5-8498-D382B6448403}" dt="2026-03-13T14:57:43.636" v="965" actId="47"/>
        <pc:sldMkLst>
          <pc:docMk/>
          <pc:sldMk cId="1020083533" sldId="265"/>
        </pc:sldMkLst>
        <pc:spChg chg="mod">
          <ac:chgData name="Gierstorfer Andreas, EL-443" userId="94b21450-a1fc-4334-bcab-8a1ae62433bb" providerId="ADAL" clId="{5FFFB196-52B1-4EA5-8498-D382B6448403}" dt="2026-03-13T14:36:32.657" v="555" actId="20577"/>
          <ac:spMkLst>
            <pc:docMk/>
            <pc:sldMk cId="1020083533" sldId="265"/>
            <ac:spMk id="2" creationId="{B4A5D482-C86F-C1CB-2357-13AC6E2A6031}"/>
          </ac:spMkLst>
        </pc:spChg>
        <pc:spChg chg="mod">
          <ac:chgData name="Gierstorfer Andreas, EL-443" userId="94b21450-a1fc-4334-bcab-8a1ae62433bb" providerId="ADAL" clId="{5FFFB196-52B1-4EA5-8498-D382B6448403}" dt="2026-03-13T14:54:36.829" v="929" actId="20577"/>
          <ac:spMkLst>
            <pc:docMk/>
            <pc:sldMk cId="1020083533" sldId="265"/>
            <ac:spMk id="5" creationId="{67B97F10-493B-1AD8-DB27-18A308C1E5F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16/03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5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89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2893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38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681538"/>
            <a:ext cx="540861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/>
              <a:t>Cliquez pour modifier les styles du texte du masque</a:t>
            </a:r>
          </a:p>
          <a:p>
            <a:pPr lvl="1"/>
            <a:r>
              <a:rPr lang="fr-FR" altLang="ja-JP"/>
              <a:t>Deuxième niveau</a:t>
            </a:r>
          </a:p>
          <a:p>
            <a:pPr lvl="2"/>
            <a:r>
              <a:rPr lang="fr-FR" altLang="ja-JP"/>
              <a:t>Troisième niveau</a:t>
            </a:r>
          </a:p>
          <a:p>
            <a:pPr lvl="3"/>
            <a:r>
              <a:rPr lang="fr-FR" altLang="ja-JP"/>
              <a:t>Quatrième niveau</a:t>
            </a:r>
          </a:p>
          <a:p>
            <a:pPr lvl="4"/>
            <a:r>
              <a:rPr lang="fr-FR" altLang="ja-JP"/>
              <a:t>Cinquième niveau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289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361488"/>
            <a:ext cx="2928937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fld id="{41FE2CFF-C77F-45F5-8196-7FFE9E57B434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ja-JP" altLang="fr-FR" smtClean="0"/>
              <a:pPr/>
              <a:t>1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374211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217"/>
            <a:fld id="{6737C4E7-2F7A-4C40-8110-7D13CF9BE4FF}" type="slidenum">
              <a:rPr lang="de-DE" smtClean="0"/>
              <a:pPr defTabSz="914217"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0628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4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930749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N°›</a:t>
            </a:fld>
            <a:endParaRPr lang="fr-FR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N°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8F769BD-C4D9-4075-94C1-E71E3F73A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6936A-3B21-4CDC-83DE-B97ED3CCFAB5}" type="slidenum">
              <a:rPr lang="fr-FR" altLang="ja-JP" smtClean="0"/>
              <a:t>1</a:t>
            </a:fld>
            <a:endParaRPr lang="fr-FR" altLang="ja-JP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148632B-F642-3460-7FF1-C15D14846F95}"/>
              </a:ext>
            </a:extLst>
          </p:cNvPr>
          <p:cNvSpPr txBox="1">
            <a:spLocks/>
          </p:cNvSpPr>
          <p:nvPr/>
        </p:nvSpPr>
        <p:spPr>
          <a:xfrm>
            <a:off x="776288" y="1600200"/>
            <a:ext cx="10639424" cy="4565104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9000" kern="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posal for UN-R 10, 08 series of amendments:</a:t>
            </a:r>
          </a:p>
          <a:p>
            <a:br>
              <a:rPr lang="en-US" sz="4900" kern="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br>
              <a:rPr lang="en-US" sz="4900" kern="0" dirty="0"/>
            </a:br>
            <a:endParaRPr lang="en-US" sz="4900" kern="0" dirty="0"/>
          </a:p>
          <a:p>
            <a:r>
              <a:rPr lang="en-US" sz="120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cision of charging condition</a:t>
            </a:r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ersedes: IWG-EMC-47-04e (OICA) Precision of charging condition and flicker requirements</a:t>
            </a: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4000" kern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4000" kern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ch 2026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C2F39DC-D2BB-527C-B032-5C6BA109BDAE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5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B5DDB1-3467-85F1-E169-17236F6F0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8C1177-4C69-74CA-6CB0-304E9A6C8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2</a:t>
            </a:fld>
            <a:endParaRPr lang="fr-FR" altLang="ja-JP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84C288D-DFEC-3F66-3C10-182D4777ED8D}"/>
              </a:ext>
            </a:extLst>
          </p:cNvPr>
          <p:cNvSpPr txBox="1">
            <a:spLocks/>
          </p:cNvSpPr>
          <p:nvPr/>
        </p:nvSpPr>
        <p:spPr>
          <a:xfrm>
            <a:off x="2243702" y="4869160"/>
            <a:ext cx="4518438" cy="384056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LID4096" sz="1800" kern="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0568112-5A71-163B-F28E-B3281E3340EB}"/>
              </a:ext>
            </a:extLst>
          </p:cNvPr>
          <p:cNvSpPr txBox="1"/>
          <p:nvPr/>
        </p:nvSpPr>
        <p:spPr>
          <a:xfrm>
            <a:off x="955222" y="1556792"/>
            <a:ext cx="10281556" cy="5663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The vehicle shall be immobilized </a:t>
            </a:r>
            <a:r>
              <a:rPr lang="en-US" sz="1800" b="0" i="0" u="none" strike="noStrike" baseline="0" dirty="0">
                <a:solidFill>
                  <a:srgbClr val="0070C0"/>
                </a:solidFill>
                <a:latin typeface="Times New Roman" panose="02020603050405020304" pitchFamily="18" charset="0"/>
              </a:rPr>
              <a:t>and in continuous charging mode.</a:t>
            </a:r>
            <a:r>
              <a:rPr lang="en-US" sz="1800" b="0" i="0" u="none" strike="sngStrike" baseline="0" dirty="0">
                <a:solidFill>
                  <a:srgbClr val="0070C0"/>
                </a:solidFill>
                <a:latin typeface="Times New Roman" panose="02020603050405020304" pitchFamily="18" charset="0"/>
              </a:rPr>
              <a:t>, </a:t>
            </a:r>
            <a:r>
              <a:rPr lang="en-US" sz="1800" b="0" i="0" u="none" strike="sngStrike" baseline="0" dirty="0" err="1">
                <a:solidFill>
                  <a:srgbClr val="0070C0"/>
                </a:solidFill>
                <a:latin typeface="Times New Roman" panose="02020603050405020304" pitchFamily="18" charset="0"/>
              </a:rPr>
              <a:t>t</a:t>
            </a:r>
            <a:r>
              <a:rPr lang="en-US" sz="1800" b="0" i="0" u="none" baseline="0" dirty="0" err="1">
                <a:solidFill>
                  <a:srgbClr val="0070C0"/>
                </a:solidFill>
                <a:latin typeface="Times New Roman" panose="02020603050405020304" pitchFamily="18" charset="0"/>
              </a:rPr>
              <a:t>T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Times New Roman" panose="02020603050405020304" pitchFamily="18" charset="0"/>
              </a:rPr>
              <a:t>he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 engine(s) (ICE and / or electrical engine) shall be OFF</a:t>
            </a:r>
            <a:r>
              <a:rPr lang="en-US" sz="1800" b="0" i="0" u="none" strike="noStrike" baseline="0" dirty="0">
                <a:solidFill>
                  <a:srgbClr val="0070C0"/>
                </a:solidFill>
                <a:latin typeface="Times New Roman" panose="02020603050405020304" pitchFamily="18" charset="0"/>
              </a:rPr>
              <a:t>. </a:t>
            </a:r>
            <a:r>
              <a:rPr lang="en-US" sz="1800" b="0" i="0" u="none" strike="sngStrike" baseline="0" dirty="0">
                <a:solidFill>
                  <a:srgbClr val="0070C0"/>
                </a:solidFill>
                <a:latin typeface="Times New Roman" panose="02020603050405020304" pitchFamily="18" charset="0"/>
              </a:rPr>
              <a:t>and in charging mode. </a:t>
            </a:r>
          </a:p>
          <a:p>
            <a:pPr>
              <a:spcBef>
                <a:spcPts val="600"/>
              </a:spcBef>
            </a:pPr>
            <a:endParaRPr lang="en-US" strike="sngStrike" dirty="0">
              <a:solidFill>
                <a:srgbClr val="0070C0"/>
              </a:solidFill>
              <a:latin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he vehicle is in charging mode, not the engin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Emphasize that tests shall be done in a static operating condition.</a:t>
            </a:r>
          </a:p>
          <a:p>
            <a:pPr algn="ctr"/>
            <a:endParaRPr lang="en-US" dirty="0"/>
          </a:p>
          <a:p>
            <a:r>
              <a:rPr lang="en-US" dirty="0" err="1"/>
              <a:t>Occurances</a:t>
            </a:r>
            <a:r>
              <a:rPr lang="en-US" dirty="0"/>
              <a:t>:</a:t>
            </a:r>
          </a:p>
          <a:p>
            <a:r>
              <a:rPr lang="en-US" dirty="0"/>
              <a:t>Annex 4, paragraph 2.2</a:t>
            </a:r>
          </a:p>
          <a:p>
            <a:r>
              <a:rPr lang="en-US" dirty="0"/>
              <a:t>Annex 6, paragraph 2.2.1.1.</a:t>
            </a:r>
          </a:p>
          <a:p>
            <a:r>
              <a:rPr lang="en-US" dirty="0"/>
              <a:t>Annex 11, paragraph 2.1</a:t>
            </a:r>
          </a:p>
          <a:p>
            <a:r>
              <a:rPr lang="en-US" dirty="0"/>
              <a:t>Annex 12, paragraph 2.1</a:t>
            </a:r>
          </a:p>
          <a:p>
            <a:r>
              <a:rPr lang="en-US" dirty="0"/>
              <a:t>Annex 13, paragraph 2.1</a:t>
            </a:r>
          </a:p>
          <a:p>
            <a:r>
              <a:rPr lang="en-US" dirty="0"/>
              <a:t>Annex 14, paragraph 2.1</a:t>
            </a:r>
          </a:p>
          <a:p>
            <a:r>
              <a:rPr lang="en-US" dirty="0"/>
              <a:t>Annex 15, paragraph 2.1.1.</a:t>
            </a:r>
          </a:p>
          <a:p>
            <a:r>
              <a:rPr lang="en-US" dirty="0"/>
              <a:t>Annex 16, paragraph 2.1.1.</a:t>
            </a:r>
          </a:p>
          <a:p>
            <a:pPr algn="ctr"/>
            <a:endParaRPr lang="en-US" dirty="0"/>
          </a:p>
          <a:p>
            <a:pPr>
              <a:spcBef>
                <a:spcPts val="600"/>
              </a:spcBef>
            </a:pPr>
            <a:endParaRPr lang="en-US" sz="1800" b="0" i="0" u="none" strike="sngStrike" baseline="0" dirty="0">
              <a:solidFill>
                <a:srgbClr val="0070C0"/>
              </a:solidFill>
              <a:latin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endParaRPr lang="en-US" strike="sngStrike" dirty="0">
              <a:solidFill>
                <a:srgbClr val="0070C0"/>
              </a:solidFill>
              <a:latin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endParaRPr lang="en-US" sz="1800" b="0" i="0" u="none" strike="sngStrike" baseline="0" dirty="0">
              <a:solidFill>
                <a:srgbClr val="0070C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4AE03DB-0532-373F-B618-414E7AC9DB0F}"/>
              </a:ext>
            </a:extLst>
          </p:cNvPr>
          <p:cNvSpPr txBox="1"/>
          <p:nvPr/>
        </p:nvSpPr>
        <p:spPr>
          <a:xfrm>
            <a:off x="9810504" y="22188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r"/>
            <a:r>
              <a:rPr lang="en-GB" sz="800" dirty="0">
                <a:ln>
                  <a:solidFill>
                    <a:srgbClr val="000000">
                      <a:alpha val="0"/>
                    </a:srgbClr>
                  </a:solidFill>
                </a:ln>
                <a:latin typeface="현대하모니 M" panose="02020603020101020101" pitchFamily="18" charset="-127"/>
                <a:ea typeface="현대하모니 M" panose="02020603020101020101" pitchFamily="18" charset="-127"/>
              </a:rPr>
              <a:t>IWG-EMC-51-05</a:t>
            </a:r>
          </a:p>
        </p:txBody>
      </p:sp>
    </p:spTree>
    <p:extLst>
      <p:ext uri="{BB962C8B-B14F-4D97-AF65-F5344CB8AC3E}">
        <p14:creationId xmlns:p14="http://schemas.microsoft.com/office/powerpoint/2010/main" val="1428005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3B64F82E7098488BA699CD80F6C817" ma:contentTypeVersion="12" ma:contentTypeDescription="Create a new document." ma:contentTypeScope="" ma:versionID="277ebf662d848dea0c34255404869c57">
  <xsd:schema xmlns:xsd="http://www.w3.org/2001/XMLSchema" xmlns:xs="http://www.w3.org/2001/XMLSchema" xmlns:p="http://schemas.microsoft.com/office/2006/metadata/properties" xmlns:ns2="beab5909-2256-4ef5-9bfe-179cc9eb78a8" xmlns:ns3="a2803eea-376f-4b0d-b851-13f11d2e39ae" targetNamespace="http://schemas.microsoft.com/office/2006/metadata/properties" ma:root="true" ma:fieldsID="1898f4346036b0565a083ebaf0c905c5" ns2:_="" ns3:_="">
    <xsd:import namespace="beab5909-2256-4ef5-9bfe-179cc9eb78a8"/>
    <xsd:import namespace="a2803eea-376f-4b0d-b851-13f11d2e39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b5909-2256-4ef5-9bfe-179cc9eb78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03eea-376f-4b0d-b851-13f11d2e39a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39304F-0938-43E6-8879-656B93E44B20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eab5909-2256-4ef5-9bfe-179cc9eb78a8"/>
    <ds:schemaRef ds:uri="http://schemas.microsoft.com/office/2006/documentManagement/types"/>
    <ds:schemaRef ds:uri="http://purl.org/dc/terms/"/>
    <ds:schemaRef ds:uri="a2803eea-376f-4b0d-b851-13f11d2e39a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C7098E4-0E61-454C-A497-6FC478BF5B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ab5909-2256-4ef5-9bfe-179cc9eb78a8"/>
    <ds:schemaRef ds:uri="a2803eea-376f-4b0d-b851-13f11d2e39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BB8778E-8A64-41F0-9713-4F9DA0D2539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2601314-b878-4900-a263-6d04f23371fa}" enabled="1" method="Privileged" siteId="{ce849bab-cc1c-465b-b62e-18f07c9ac1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asque présentation avec nouveau logo et format 16x9</Template>
  <TotalTime>0</TotalTime>
  <Words>138</Words>
  <Application>Microsoft Office PowerPoint</Application>
  <PresentationFormat>Grand écran</PresentationFormat>
  <Paragraphs>34</Paragraphs>
  <Slides>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Courier New</vt:lpstr>
      <vt:lpstr>현대하모니 M</vt:lpstr>
      <vt:lpstr>Imago Pro Light</vt:lpstr>
      <vt:lpstr>Times New Roman</vt:lpstr>
      <vt:lpstr>Wingdings</vt:lpstr>
      <vt:lpstr>Masque présentation OICA</vt:lpstr>
      <vt:lpstr>think-cell Folie</vt:lpstr>
      <vt:lpstr>Présentation PowerPoint</vt:lpstr>
      <vt:lpstr>Propos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CE R10 Liaison Report</dc:title>
  <dc:creator>Gierstorfer</dc:creator>
  <cp:lastModifiedBy>PRIGENT Jean-Marc</cp:lastModifiedBy>
  <cp:revision>85</cp:revision>
  <dcterms:created xsi:type="dcterms:W3CDTF">2022-01-18T14:42:26Z</dcterms:created>
  <dcterms:modified xsi:type="dcterms:W3CDTF">2026-03-16T18:3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3B64F82E7098488BA699CD80F6C817</vt:lpwstr>
  </property>
  <property fmtid="{D5CDD505-2E9C-101B-9397-08002B2CF9AE}" pid="3" name="MSIP_Label_c2601314-b878-4900-a263-6d04f23371fa_Enabled">
    <vt:lpwstr>true</vt:lpwstr>
  </property>
  <property fmtid="{D5CDD505-2E9C-101B-9397-08002B2CF9AE}" pid="4" name="MSIP_Label_c2601314-b878-4900-a263-6d04f23371fa_SetDate">
    <vt:lpwstr>2025-05-20T10:34:38Z</vt:lpwstr>
  </property>
  <property fmtid="{D5CDD505-2E9C-101B-9397-08002B2CF9AE}" pid="5" name="MSIP_Label_c2601314-b878-4900-a263-6d04f23371fa_Method">
    <vt:lpwstr>Privileged</vt:lpwstr>
  </property>
  <property fmtid="{D5CDD505-2E9C-101B-9397-08002B2CF9AE}" pid="6" name="MSIP_Label_c2601314-b878-4900-a263-6d04f23371fa_Name">
    <vt:lpwstr>c2601314-b878-4900-a263-6d04f23371fa</vt:lpwstr>
  </property>
  <property fmtid="{D5CDD505-2E9C-101B-9397-08002B2CF9AE}" pid="7" name="MSIP_Label_c2601314-b878-4900-a263-6d04f23371fa_SiteId">
    <vt:lpwstr>ce849bab-cc1c-465b-b62e-18f07c9ac198</vt:lpwstr>
  </property>
  <property fmtid="{D5CDD505-2E9C-101B-9397-08002B2CF9AE}" pid="8" name="MSIP_Label_c2601314-b878-4900-a263-6d04f23371fa_ActionId">
    <vt:lpwstr>4c3db6ac-5c0c-4beb-909b-6d3d49b5627d</vt:lpwstr>
  </property>
  <property fmtid="{D5CDD505-2E9C-101B-9397-08002B2CF9AE}" pid="9" name="MSIP_Label_c2601314-b878-4900-a263-6d04f23371fa_ContentBits">
    <vt:lpwstr>0</vt:lpwstr>
  </property>
</Properties>
</file>